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727" r:id="rId1"/>
  </p:sldMasterIdLst>
  <p:notesMasterIdLst>
    <p:notesMasterId r:id="rId8"/>
  </p:notesMasterIdLst>
  <p:handoutMasterIdLst>
    <p:handoutMasterId r:id="rId9"/>
  </p:handoutMasterIdLst>
  <p:sldIdLst>
    <p:sldId id="257" r:id="rId2"/>
    <p:sldId id="258" r:id="rId3"/>
    <p:sldId id="262" r:id="rId4"/>
    <p:sldId id="264" r:id="rId5"/>
    <p:sldId id="263" r:id="rId6"/>
    <p:sldId id="261" r:id="rId7"/>
  </p:sldIdLst>
  <p:sldSz cx="9144000" cy="6858000" type="screen4x3"/>
  <p:notesSz cx="7010400" cy="92964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/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rry Cebul" initials="KC" lastIdx="10" clrIdx="0"/>
  <p:cmAuthor id="1" name="Vince" initials="V" lastIdx="8" clrIdx="1"/>
  <p:cmAuthor id="2" name="Kevin Reed" initials="KR" lastIdx="0" clrIdx="2"/>
  <p:cmAuthor id="3" name="Arti Patel" initials="ap" lastIdx="6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95959"/>
    <a:srgbClr val="6BACC9"/>
    <a:srgbClr val="B7BE1C"/>
    <a:srgbClr val="DB6D1D"/>
    <a:srgbClr val="000000"/>
    <a:srgbClr val="DFE5EF"/>
    <a:srgbClr val="7CF729"/>
    <a:srgbClr val="EA9D64"/>
    <a:srgbClr val="1F497D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2425" autoAdjust="0"/>
    <p:restoredTop sz="95064" autoAdjust="0"/>
  </p:normalViewPr>
  <p:slideViewPr>
    <p:cSldViewPr snapToGrid="0">
      <p:cViewPr>
        <p:scale>
          <a:sx n="60" d="100"/>
          <a:sy n="60" d="100"/>
        </p:scale>
        <p:origin x="-1338" y="-252"/>
      </p:cViewPr>
      <p:guideLst>
        <p:guide orient="horz" pos="1073"/>
        <p:guide orient="horz" pos="4274"/>
        <p:guide orient="horz" pos="776"/>
        <p:guide orient="horz" pos="144"/>
        <p:guide orient="horz" pos="4238"/>
        <p:guide orient="horz" pos="4276"/>
        <p:guide pos="3109"/>
        <p:guide pos="5616"/>
        <p:guide pos="144"/>
        <p:guide pos="1022"/>
        <p:guide pos="28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C458A-12F2-42CD-A33F-5FDC2405BDBB}" type="datetimeFigureOut">
              <a:rPr lang="en-US" smtClean="0"/>
              <a:pPr/>
              <a:t>11/16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9927D3-E4D2-473C-958F-69C7E47F556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8671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8145" cy="464205"/>
          </a:xfrm>
          <a:prstGeom prst="rect">
            <a:avLst/>
          </a:prstGeom>
        </p:spPr>
        <p:txBody>
          <a:bodyPr vert="horz" lIns="92425" tIns="46212" rIns="92425" bIns="4621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HelveticaNeueLT Std Lt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6" y="2"/>
            <a:ext cx="3038145" cy="464205"/>
          </a:xfrm>
          <a:prstGeom prst="rect">
            <a:avLst/>
          </a:prstGeom>
        </p:spPr>
        <p:txBody>
          <a:bodyPr vert="horz" lIns="92425" tIns="46212" rIns="92425" bIns="4621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HelveticaNeueLT Std Lt" pitchFamily="34" charset="0"/>
                <a:cs typeface="+mn-cs"/>
              </a:defRPr>
            </a:lvl1pPr>
          </a:lstStyle>
          <a:p>
            <a:pPr>
              <a:defRPr/>
            </a:pPr>
            <a:fld id="{7DC1A99F-5A61-48B3-97DC-5909518576C9}" type="datetimeFigureOut">
              <a:rPr lang="en-US" smtClean="0"/>
              <a:pPr>
                <a:defRPr/>
              </a:pPr>
              <a:t>11/16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5" tIns="46212" rIns="92425" bIns="4621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5" y="4416100"/>
            <a:ext cx="5607712" cy="4182458"/>
          </a:xfrm>
          <a:prstGeom prst="rect">
            <a:avLst/>
          </a:prstGeom>
        </p:spPr>
        <p:txBody>
          <a:bodyPr vert="horz" lIns="92425" tIns="46212" rIns="92425" bIns="46212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30660"/>
            <a:ext cx="3038145" cy="464205"/>
          </a:xfrm>
          <a:prstGeom prst="rect">
            <a:avLst/>
          </a:prstGeom>
        </p:spPr>
        <p:txBody>
          <a:bodyPr vert="horz" lIns="92425" tIns="46212" rIns="92425" bIns="4621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HelveticaNeueLT Std Lt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6" y="8830660"/>
            <a:ext cx="3038145" cy="464205"/>
          </a:xfrm>
          <a:prstGeom prst="rect">
            <a:avLst/>
          </a:prstGeom>
        </p:spPr>
        <p:txBody>
          <a:bodyPr vert="horz" lIns="92425" tIns="46212" rIns="92425" bIns="4621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HelveticaNeueLT Std Lt" pitchFamily="34" charset="0"/>
                <a:cs typeface="+mn-cs"/>
              </a:defRPr>
            </a:lvl1pPr>
          </a:lstStyle>
          <a:p>
            <a:pPr>
              <a:defRPr/>
            </a:pPr>
            <a:fld id="{CF0AE6AC-AA63-49EC-BA89-9EDFABD3CBD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074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NeueLT Std Lt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NeueLT Std Lt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NeueLT Std Lt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NeueLT Std Lt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NeueLT Std L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2010" y="3304626"/>
            <a:ext cx="6176240" cy="1143000"/>
          </a:xfrm>
        </p:spPr>
        <p:txBody>
          <a:bodyPr anchor="ctr"/>
          <a:lstStyle>
            <a:lvl1pPr algn="r">
              <a:lnSpc>
                <a:spcPct val="90000"/>
              </a:lnSpc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296" y="6291618"/>
            <a:ext cx="2072567" cy="50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 descr="C:\Users\Kevin Reed\AppData\Local\Microsoft\Windows\Temporary Internet Files\Content.Outlook\70TONNGK\Orange_connect (2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179928" cy="317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059377" y="4649594"/>
            <a:ext cx="4488873" cy="548640"/>
          </a:xfrm>
        </p:spPr>
        <p:txBody>
          <a:bodyPr>
            <a:normAutofit/>
          </a:bodyPr>
          <a:lstStyle>
            <a:lvl1pPr marL="0" indent="0" algn="r">
              <a:buFont typeface="Arial" pitchFamily="34" charset="0"/>
              <a:buNone/>
              <a:defRPr sz="2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 smtClean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4059377" y="5076307"/>
            <a:ext cx="4488873" cy="391691"/>
          </a:xfrm>
          <a:noFill/>
          <a:ln>
            <a:noFill/>
          </a:ln>
        </p:spPr>
        <p:txBody>
          <a:bodyPr tIns="45720" bIns="45720" anchor="t" anchorCtr="0">
            <a:noAutofit/>
          </a:bodyPr>
          <a:lstStyle>
            <a:lvl1pPr marL="0" indent="0" algn="r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endParaRPr lang="en-US" dirty="0" smtClean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751148" y="6264322"/>
            <a:ext cx="4313873" cy="521961"/>
            <a:chOff x="4751148" y="6264322"/>
            <a:chExt cx="4313873" cy="521961"/>
          </a:xfrm>
        </p:grpSpPr>
        <p:pic>
          <p:nvPicPr>
            <p:cNvPr id="15" name="Picture 2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9585" y="6264322"/>
              <a:ext cx="2125436" cy="4830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1"/>
            <p:cNvPicPr>
              <a:picLocks noChangeAspect="1" noChangeArrowheads="1"/>
            </p:cNvPicPr>
            <p:nvPr userDrawn="1"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751148" y="6311153"/>
              <a:ext cx="2142610" cy="475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38310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05749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 descr="91942246_PPT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6858000" cy="6858000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143000" y="1234440"/>
            <a:ext cx="8001000" cy="2971800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en-US">
              <a:latin typeface="Arial" pitchFamily="-10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600200"/>
            <a:ext cx="6858000" cy="1143000"/>
          </a:xfrm>
        </p:spPr>
        <p:txBody>
          <a:bodyPr/>
          <a:lstStyle>
            <a:lvl1pPr>
              <a:lnSpc>
                <a:spcPct val="9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34640"/>
            <a:ext cx="6858000" cy="548640"/>
          </a:xfrm>
        </p:spPr>
        <p:txBody>
          <a:bodyPr>
            <a:norm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3"/>
          </p:nvPr>
        </p:nvSpPr>
        <p:spPr>
          <a:xfrm>
            <a:off x="1371599" y="3566159"/>
            <a:ext cx="6858000" cy="391691"/>
          </a:xfrm>
          <a:noFill/>
          <a:ln>
            <a:noFill/>
          </a:ln>
        </p:spPr>
        <p:txBody>
          <a:bodyPr tIns="45720" bIns="45720" anchor="t" anchorCtr="0">
            <a:no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33" y="5648453"/>
            <a:ext cx="2072567" cy="500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33" y="6250674"/>
            <a:ext cx="2125436" cy="483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74495" y="5656732"/>
            <a:ext cx="2142610" cy="475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03547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26742" y="228600"/>
            <a:ext cx="8685246" cy="426493"/>
          </a:xfrm>
          <a:prstGeom prst="rect">
            <a:avLst/>
          </a:prstGeom>
        </p:spPr>
        <p:txBody>
          <a:bodyPr vert="horz" lIns="91440" tIns="45720" rIns="91440" bIns="18288" rtlCol="0" anchor="t" anchorCtr="0">
            <a:noAutofit/>
          </a:bodyPr>
          <a:lstStyle>
            <a:lvl1pPr>
              <a:defRPr sz="19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88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26742" y="228600"/>
            <a:ext cx="8685246" cy="426493"/>
          </a:xfrm>
          <a:prstGeom prst="rect">
            <a:avLst/>
          </a:prstGeom>
        </p:spPr>
        <p:txBody>
          <a:bodyPr vert="horz" lIns="91440" tIns="45720" rIns="91440" bIns="18288" rtlCol="0" anchor="t" anchorCtr="0">
            <a:noAutofit/>
          </a:bodyPr>
          <a:lstStyle>
            <a:lvl1pPr>
              <a:defRPr sz="19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948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56662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226742" y="228600"/>
            <a:ext cx="8685246" cy="426493"/>
          </a:xfrm>
          <a:prstGeom prst="rect">
            <a:avLst/>
          </a:prstGeom>
        </p:spPr>
        <p:txBody>
          <a:bodyPr vert="horz" lIns="91440" tIns="45720" rIns="91440" bIns="18288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226742" y="1417320"/>
            <a:ext cx="8686800" cy="42768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325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4" r:id="rId2"/>
    <p:sldLayoutId id="2147483736" r:id="rId3"/>
    <p:sldLayoutId id="214748372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914400" rtl="0" eaLnBrk="1" latinLnBrk="0" hangingPunct="1">
        <a:spcBef>
          <a:spcPct val="0"/>
        </a:spcBef>
        <a:buNone/>
        <a:defRPr sz="1900" b="1" kern="1200" baseline="0">
          <a:solidFill>
            <a:schemeClr val="tx1">
              <a:lumMod val="65000"/>
              <a:lumOff val="35000"/>
            </a:schemeClr>
          </a:solidFill>
          <a:latin typeface="Arial"/>
          <a:ea typeface="+mj-ea"/>
          <a:cs typeface="Arial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230188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13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1225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54113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10.png"/><Relationship Id="rId5" Type="http://schemas.openxmlformats.org/officeDocument/2006/relationships/tags" Target="../tags/tag11.xml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12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3.xml"/><Relationship Id="rId17" Type="http://schemas.openxmlformats.org/officeDocument/2006/relationships/image" Target="../media/image11.png"/><Relationship Id="rId2" Type="http://schemas.openxmlformats.org/officeDocument/2006/relationships/tags" Target="../tags/tag15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9.jpeg"/><Relationship Id="rId10" Type="http://schemas.openxmlformats.org/officeDocument/2006/relationships/tags" Target="../tags/tag23.xml"/><Relationship Id="rId19" Type="http://schemas.openxmlformats.org/officeDocument/2006/relationships/image" Target="../media/image13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5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image" Target="../media/image19.jpeg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34" Type="http://schemas.openxmlformats.org/officeDocument/2006/relationships/oleObject" Target="../embeddings/oleObject4.bin"/><Relationship Id="rId42" Type="http://schemas.openxmlformats.org/officeDocument/2006/relationships/image" Target="../media/image22.png"/><Relationship Id="rId47" Type="http://schemas.openxmlformats.org/officeDocument/2006/relationships/image" Target="../media/image27.jpeg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slideLayout" Target="../slideLayouts/slideLayout3.xml"/><Relationship Id="rId38" Type="http://schemas.openxmlformats.org/officeDocument/2006/relationships/image" Target="../media/image18.gif"/><Relationship Id="rId46" Type="http://schemas.openxmlformats.org/officeDocument/2006/relationships/image" Target="../media/image26.jpeg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41" Type="http://schemas.openxmlformats.org/officeDocument/2006/relationships/image" Target="../media/image21.jpeg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image" Target="../media/image17.gif"/><Relationship Id="rId40" Type="http://schemas.openxmlformats.org/officeDocument/2006/relationships/image" Target="../media/image20.jpeg"/><Relationship Id="rId45" Type="http://schemas.openxmlformats.org/officeDocument/2006/relationships/image" Target="../media/image25.jpe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image" Target="../media/image16.png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4" Type="http://schemas.openxmlformats.org/officeDocument/2006/relationships/image" Target="../media/image24.jpe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image" Target="../media/image1.emf"/><Relationship Id="rId43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9" y="26531"/>
            <a:ext cx="9101951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9" y="3734054"/>
            <a:ext cx="9088813" cy="3047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4503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" y="0"/>
            <a:ext cx="9144000" cy="2838734"/>
            <a:chOff x="-3056765" y="-323315"/>
            <a:chExt cx="15379320" cy="5126440"/>
          </a:xfrm>
        </p:grpSpPr>
        <p:pic>
          <p:nvPicPr>
            <p:cNvPr id="111618" name="Picture 2" descr="http://andrewprokos.com/d/rio-de-janeiro-panoramic-view?g2_itemId=13521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056765" y="-323315"/>
              <a:ext cx="15379320" cy="51264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620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056765" y="-323315"/>
              <a:ext cx="2557034" cy="5678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TextBox 21"/>
          <p:cNvSpPr txBox="1"/>
          <p:nvPr>
            <p:custDataLst>
              <p:tags r:id="rId1"/>
            </p:custDataLst>
          </p:nvPr>
        </p:nvSpPr>
        <p:spPr>
          <a:xfrm>
            <a:off x="4119070" y="217579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about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2"/>
            </p:custDataLst>
          </p:nvPr>
        </p:nvSpPr>
        <p:spPr>
          <a:xfrm>
            <a:off x="4837323" y="217579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companies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3"/>
            </p:custDataLst>
          </p:nvPr>
        </p:nvSpPr>
        <p:spPr>
          <a:xfrm>
            <a:off x="5937091" y="217579"/>
            <a:ext cx="7232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people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4"/>
            </p:custDataLst>
          </p:nvPr>
        </p:nvSpPr>
        <p:spPr>
          <a:xfrm>
            <a:off x="6737097" y="217579"/>
            <a:ext cx="4812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jobs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5"/>
            </p:custDataLst>
          </p:nvPr>
        </p:nvSpPr>
        <p:spPr>
          <a:xfrm>
            <a:off x="7896282" y="217579"/>
            <a:ext cx="790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contact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6"/>
            </p:custDataLst>
          </p:nvPr>
        </p:nvSpPr>
        <p:spPr>
          <a:xfrm>
            <a:off x="7295050" y="21757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blog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8" name="TextBox 27"/>
          <p:cNvSpPr txBox="1"/>
          <p:nvPr>
            <p:custDataLst>
              <p:tags r:id="rId7"/>
            </p:custDataLst>
          </p:nvPr>
        </p:nvSpPr>
        <p:spPr>
          <a:xfrm>
            <a:off x="941696" y="75256"/>
            <a:ext cx="30507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err="1" smtClean="0">
                <a:solidFill>
                  <a:schemeClr val="bg1"/>
                </a:solidFill>
                <a:latin typeface="Century Gothic" pitchFamily="34" charset="0"/>
              </a:rPr>
              <a:t>Antera</a:t>
            </a:r>
            <a:r>
              <a:rPr lang="en-US" sz="2600" b="1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r>
              <a:rPr lang="en-US" sz="2600" dirty="0" smtClean="0">
                <a:solidFill>
                  <a:schemeClr val="bg1"/>
                </a:solidFill>
                <a:latin typeface="Century Gothic" pitchFamily="34" charset="0"/>
              </a:rPr>
              <a:t>ventures</a:t>
            </a:r>
            <a:endParaRPr lang="en-US" sz="26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29" name="Picture 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48" y="5609116"/>
            <a:ext cx="2347848" cy="143392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758" y="2964862"/>
            <a:ext cx="2363762" cy="30265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724" y="2964862"/>
            <a:ext cx="2363762" cy="381356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48" y="2964862"/>
            <a:ext cx="2347848" cy="264425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0869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359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>
            <p:custDataLst>
              <p:tags r:id="rId3"/>
            </p:custDataLst>
          </p:nvPr>
        </p:nvGrpSpPr>
        <p:grpSpPr>
          <a:xfrm>
            <a:off x="1" y="617688"/>
            <a:ext cx="9144000" cy="2654901"/>
            <a:chOff x="-3056765" y="-323315"/>
            <a:chExt cx="15379320" cy="5126440"/>
          </a:xfrm>
        </p:grpSpPr>
        <p:pic>
          <p:nvPicPr>
            <p:cNvPr id="111618" name="Picture 2" descr="http://andrewprokos.com/d/rio-de-janeiro-panoramic-view?g2_itemId=13521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056765" y="-323315"/>
              <a:ext cx="15379320" cy="51264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620" name="Picture 4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056765" y="-323315"/>
              <a:ext cx="2557034" cy="5678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>
            <a:off x="4119070" y="217579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abou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4837323" y="217579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mpanie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5937091" y="217579"/>
            <a:ext cx="7232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people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11" name="TextBox 10"/>
          <p:cNvSpPr txBox="1"/>
          <p:nvPr>
            <p:custDataLst>
              <p:tags r:id="rId7"/>
            </p:custDataLst>
          </p:nvPr>
        </p:nvSpPr>
        <p:spPr>
          <a:xfrm>
            <a:off x="6737097" y="217579"/>
            <a:ext cx="4812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job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7896282" y="217579"/>
            <a:ext cx="790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ntac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13" name="TextBox 12"/>
          <p:cNvSpPr txBox="1"/>
          <p:nvPr>
            <p:custDataLst>
              <p:tags r:id="rId9"/>
            </p:custDataLst>
          </p:nvPr>
        </p:nvSpPr>
        <p:spPr>
          <a:xfrm>
            <a:off x="7295050" y="21757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blog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10"/>
            </p:custDataLst>
          </p:nvPr>
        </p:nvSpPr>
        <p:spPr>
          <a:xfrm>
            <a:off x="941696" y="75256"/>
            <a:ext cx="30507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err="1" smtClean="0">
                <a:latin typeface="Century Gothic" pitchFamily="34" charset="0"/>
              </a:rPr>
              <a:t>Antera</a:t>
            </a:r>
            <a:r>
              <a:rPr lang="en-US" sz="2600" b="1" dirty="0" smtClean="0">
                <a:latin typeface="Century Gothic" pitchFamily="34" charset="0"/>
              </a:rPr>
              <a:t> </a:t>
            </a:r>
            <a:r>
              <a:rPr lang="en-US" sz="2600" dirty="0" smtClean="0">
                <a:latin typeface="Century Gothic" pitchFamily="34" charset="0"/>
              </a:rPr>
              <a:t>ventures</a:t>
            </a:r>
            <a:endParaRPr lang="en-US" sz="2600" dirty="0">
              <a:latin typeface="Century Gothic" pitchFamily="34" charset="0"/>
            </a:endParaRPr>
          </a:p>
        </p:txBody>
      </p:sp>
      <p:pic>
        <p:nvPicPr>
          <p:cNvPr id="115713" name="Picture 1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48" y="6073254"/>
            <a:ext cx="2347848" cy="143392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758" y="3429000"/>
            <a:ext cx="2363762" cy="30265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724" y="3429000"/>
            <a:ext cx="2363762" cy="381356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717" name="Picture 5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48" y="3429000"/>
            <a:ext cx="2347848" cy="264425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615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775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>
            <p:custDataLst>
              <p:tags r:id="rId3"/>
            </p:custDataLst>
          </p:nvPr>
        </p:nvSpPr>
        <p:spPr>
          <a:xfrm>
            <a:off x="4119070" y="217579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Century Gothic" pitchFamily="34" charset="0"/>
              </a:rPr>
              <a:t>about</a:t>
            </a:r>
            <a:endParaRPr lang="en-US" sz="1200" b="1" dirty="0">
              <a:latin typeface="Century Gothic" pitchFamily="34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4"/>
            </p:custDataLst>
          </p:nvPr>
        </p:nvSpPr>
        <p:spPr>
          <a:xfrm>
            <a:off x="4837323" y="217579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mpanie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5"/>
            </p:custDataLst>
          </p:nvPr>
        </p:nvSpPr>
        <p:spPr>
          <a:xfrm>
            <a:off x="5937091" y="217579"/>
            <a:ext cx="7232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people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6"/>
            </p:custDataLst>
          </p:nvPr>
        </p:nvSpPr>
        <p:spPr>
          <a:xfrm>
            <a:off x="6737097" y="217579"/>
            <a:ext cx="4812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job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7"/>
            </p:custDataLst>
          </p:nvPr>
        </p:nvSpPr>
        <p:spPr>
          <a:xfrm>
            <a:off x="7896282" y="217579"/>
            <a:ext cx="790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ntac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8"/>
            </p:custDataLst>
          </p:nvPr>
        </p:nvSpPr>
        <p:spPr>
          <a:xfrm>
            <a:off x="7295050" y="21757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blog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941696" y="75256"/>
            <a:ext cx="30507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err="1" smtClean="0">
                <a:latin typeface="Century Gothic" pitchFamily="34" charset="0"/>
              </a:rPr>
              <a:t>Antera</a:t>
            </a:r>
            <a:r>
              <a:rPr lang="en-US" sz="2600" b="1" dirty="0" smtClean="0">
                <a:latin typeface="Century Gothic" pitchFamily="34" charset="0"/>
              </a:rPr>
              <a:t> </a:t>
            </a:r>
            <a:r>
              <a:rPr lang="en-US" sz="2600" dirty="0" smtClean="0">
                <a:latin typeface="Century Gothic" pitchFamily="34" charset="0"/>
              </a:rPr>
              <a:t>ventures</a:t>
            </a:r>
            <a:endParaRPr lang="en-US" sz="2600" dirty="0">
              <a:latin typeface="Century Gothic" pitchFamily="34" charset="0"/>
            </a:endParaRPr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04" y="704850"/>
            <a:ext cx="8258175" cy="615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88202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561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/>
          <p:cNvSpPr/>
          <p:nvPr>
            <p:custDataLst>
              <p:tags r:id="rId3"/>
            </p:custDataLst>
          </p:nvPr>
        </p:nvSpPr>
        <p:spPr>
          <a:xfrm>
            <a:off x="253633" y="4148043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>
            <p:custDataLst>
              <p:tags r:id="rId4"/>
            </p:custDataLst>
          </p:nvPr>
        </p:nvSpPr>
        <p:spPr>
          <a:xfrm>
            <a:off x="2429907" y="4148043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>
            <p:custDataLst>
              <p:tags r:id="rId5"/>
            </p:custDataLst>
          </p:nvPr>
        </p:nvSpPr>
        <p:spPr>
          <a:xfrm>
            <a:off x="4606181" y="4148043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>
            <p:custDataLst>
              <p:tags r:id="rId6"/>
            </p:custDataLst>
          </p:nvPr>
        </p:nvSpPr>
        <p:spPr>
          <a:xfrm>
            <a:off x="6782454" y="4148043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>
            <p:custDataLst>
              <p:tags r:id="rId7"/>
            </p:custDataLst>
          </p:nvPr>
        </p:nvSpPr>
        <p:spPr>
          <a:xfrm>
            <a:off x="253633" y="1294488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8"/>
            </p:custDataLst>
          </p:nvPr>
        </p:nvSpPr>
        <p:spPr>
          <a:xfrm>
            <a:off x="2429907" y="1294488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>
            <p:custDataLst>
              <p:tags r:id="rId9"/>
            </p:custDataLst>
          </p:nvPr>
        </p:nvSpPr>
        <p:spPr>
          <a:xfrm>
            <a:off x="4606181" y="1294488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>
            <p:custDataLst>
              <p:tags r:id="rId10"/>
            </p:custDataLst>
          </p:nvPr>
        </p:nvSpPr>
        <p:spPr>
          <a:xfrm>
            <a:off x="6782454" y="1294488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4119070" y="217579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abou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12"/>
            </p:custDataLst>
          </p:nvPr>
        </p:nvSpPr>
        <p:spPr>
          <a:xfrm>
            <a:off x="4837323" y="217579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Century Gothic" pitchFamily="34" charset="0"/>
              </a:rPr>
              <a:t>companies</a:t>
            </a:r>
            <a:endParaRPr lang="en-US" sz="1200" b="1" dirty="0">
              <a:latin typeface="Century Gothic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13"/>
            </p:custDataLst>
          </p:nvPr>
        </p:nvSpPr>
        <p:spPr>
          <a:xfrm>
            <a:off x="5937091" y="217579"/>
            <a:ext cx="7232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people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4"/>
            </p:custDataLst>
          </p:nvPr>
        </p:nvSpPr>
        <p:spPr>
          <a:xfrm>
            <a:off x="6737097" y="217579"/>
            <a:ext cx="4812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job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15"/>
            </p:custDataLst>
          </p:nvPr>
        </p:nvSpPr>
        <p:spPr>
          <a:xfrm>
            <a:off x="7896282" y="217579"/>
            <a:ext cx="790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ntac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6"/>
            </p:custDataLst>
          </p:nvPr>
        </p:nvSpPr>
        <p:spPr>
          <a:xfrm>
            <a:off x="7295050" y="21757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blog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17"/>
            </p:custDataLst>
          </p:nvPr>
        </p:nvSpPr>
        <p:spPr>
          <a:xfrm>
            <a:off x="941696" y="75256"/>
            <a:ext cx="30507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err="1" smtClean="0">
                <a:latin typeface="Century Gothic" pitchFamily="34" charset="0"/>
              </a:rPr>
              <a:t>Antera</a:t>
            </a:r>
            <a:r>
              <a:rPr lang="en-US" sz="2600" b="1" dirty="0" smtClean="0">
                <a:latin typeface="Century Gothic" pitchFamily="34" charset="0"/>
              </a:rPr>
              <a:t> </a:t>
            </a:r>
            <a:r>
              <a:rPr lang="en-US" sz="2600" dirty="0" smtClean="0">
                <a:latin typeface="Century Gothic" pitchFamily="34" charset="0"/>
              </a:rPr>
              <a:t>ventures</a:t>
            </a:r>
            <a:endParaRPr lang="en-US" sz="2600" dirty="0">
              <a:latin typeface="Century Gothic" pitchFamily="34" charset="0"/>
            </a:endParaRPr>
          </a:p>
        </p:txBody>
      </p:sp>
      <p:pic>
        <p:nvPicPr>
          <p:cNvPr id="114693" name="Picture 5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047" y="1764954"/>
            <a:ext cx="1440918" cy="45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4695" name="Picture 7" descr="http://www.fundocriatec.com.br/imagens_internas/Subsin%20Logo%20emgif.gif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655" y="1853221"/>
            <a:ext cx="1323176" cy="330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1" name="Picture 13" descr="http://www.fundocriatec.com.br/imagens_internas/LOGO_MAGNAMED.gif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0893" y="1646916"/>
            <a:ext cx="860868" cy="573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7" name="Picture 19" descr="http://www.fundocriatec.com.br/imagens_internas/logo%20TMED%201%20oficial.jp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823" y="4594697"/>
            <a:ext cx="918918" cy="41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9" name="Picture 21" descr="http://www.fundocriatec.com.br/imagens_internas/ARVUS%20logo%20fundo%20branco.jp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266" y="1823647"/>
            <a:ext cx="1264668" cy="389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13" name="Picture 25" descr="http://www.fundocriatec.com.br/imagens_internas/Bug.jp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526" y="4379977"/>
            <a:ext cx="689960" cy="666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16" name="Picture 28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544" y="4733889"/>
            <a:ext cx="1512471" cy="283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ectangle 59"/>
          <p:cNvSpPr/>
          <p:nvPr>
            <p:custDataLst>
              <p:tags r:id="rId25"/>
            </p:custDataLst>
          </p:nvPr>
        </p:nvSpPr>
        <p:spPr>
          <a:xfrm>
            <a:off x="253633" y="2713382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>
            <p:custDataLst>
              <p:tags r:id="rId26"/>
            </p:custDataLst>
          </p:nvPr>
        </p:nvSpPr>
        <p:spPr>
          <a:xfrm>
            <a:off x="2429907" y="2713382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>
            <p:custDataLst>
              <p:tags r:id="rId27"/>
            </p:custDataLst>
          </p:nvPr>
        </p:nvSpPr>
        <p:spPr>
          <a:xfrm>
            <a:off x="4606181" y="2713382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>
            <p:custDataLst>
              <p:tags r:id="rId28"/>
            </p:custDataLst>
          </p:nvPr>
        </p:nvSpPr>
        <p:spPr>
          <a:xfrm>
            <a:off x="6782454" y="2713382"/>
            <a:ext cx="2117747" cy="13068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Picture 9" descr="http://www.fundocriatec.com.br/imagens_internas/marca_celer_fundo%20branco.jpg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349" y="3254448"/>
            <a:ext cx="904314" cy="301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1" descr="http://www.fundocriatec.com.br/imagens_internas/logo_invitrocells%20fev%202009.jpg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743" y="3183558"/>
            <a:ext cx="917000" cy="443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5" descr="http://www.fundocriatec.com.br/imagens_internas/logoUsix.jpg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319" y="3118394"/>
            <a:ext cx="997470" cy="573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7" descr="http://www.fundocriatec.com.br/imagens_internas/logo%20cianet.jp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570" y="3342173"/>
            <a:ext cx="1028180" cy="37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18" name="Picture 30" descr="http://www.fundocriatec.com.br/imagens_internas/VIDA_logo.jpg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682" y="4672044"/>
            <a:ext cx="1133475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8291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70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39" y="4410736"/>
            <a:ext cx="8512630" cy="2138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67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903" y="1530537"/>
            <a:ext cx="8324194" cy="2038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073478" y="1020820"/>
            <a:ext cx="4997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entury Gothic" pitchFamily="34" charset="0"/>
              </a:rPr>
              <a:t>INVESTMENT TEAM</a:t>
            </a:r>
            <a:endParaRPr lang="en-US" sz="2000" b="1" dirty="0"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73478" y="4012661"/>
            <a:ext cx="4997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latin typeface="Century Gothic" pitchFamily="34" charset="0"/>
              </a:rPr>
              <a:t>REGIONAL MANAGERS</a:t>
            </a:r>
            <a:endParaRPr lang="en-US" sz="2000" b="1" dirty="0">
              <a:latin typeface="Century Gothic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119070" y="217579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abou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837323" y="217579"/>
            <a:ext cx="10230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mpanie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37091" y="217579"/>
            <a:ext cx="7232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Century Gothic" pitchFamily="34" charset="0"/>
              </a:rPr>
              <a:t>people</a:t>
            </a:r>
            <a:endParaRPr lang="en-US" sz="1200" b="1" dirty="0">
              <a:latin typeface="Century Gothic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37097" y="217579"/>
            <a:ext cx="4812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jobs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896282" y="217579"/>
            <a:ext cx="790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contact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295050" y="21757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Century Gothic" pitchFamily="34" charset="0"/>
              </a:rPr>
              <a:t>blog</a:t>
            </a:r>
            <a:endParaRPr lang="en-US" sz="1200" dirty="0">
              <a:latin typeface="Century Gothic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941696" y="75256"/>
            <a:ext cx="30507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err="1" smtClean="0">
                <a:latin typeface="Century Gothic" pitchFamily="34" charset="0"/>
              </a:rPr>
              <a:t>Antera</a:t>
            </a:r>
            <a:r>
              <a:rPr lang="en-US" sz="2600" b="1" dirty="0" smtClean="0">
                <a:latin typeface="Century Gothic" pitchFamily="34" charset="0"/>
              </a:rPr>
              <a:t> </a:t>
            </a:r>
            <a:r>
              <a:rPr lang="en-US" sz="2600" dirty="0" smtClean="0">
                <a:latin typeface="Century Gothic" pitchFamily="34" charset="0"/>
              </a:rPr>
              <a:t>ventures</a:t>
            </a:r>
            <a:endParaRPr lang="en-US" sz="2600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424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4.46694051725987600000E+000&quot;&gt;&lt;m_ppcolschidx val=&quot;0&quot;/&gt;&lt;m_rgb r=&quot;b6&quot; g=&quot;e6&quot; b=&quot;13&quot;/&gt;&lt;/elem&gt;&lt;elem m_fUsage=&quot;2.69732466078728010000E+000&quot;&gt;&lt;m_ppcolschidx val=&quot;0&quot;/&gt;&lt;m_rgb r=&quot;6b&quot; g=&quot;ac&quot; b=&quot;cf&quot;/&gt;&lt;/elem&gt;&lt;elem m_fUsage=&quot;2.34734505291892460000E+000&quot;&gt;&lt;m_ppcolschidx val=&quot;0&quot;/&gt;&lt;m_rgb r=&quot;db&quot; g=&quot;6d&quot; b=&quot;1d&quot;/&gt;&lt;/elem&gt;&lt;elem m_fUsage=&quot;4.86423498529166280000E-001&quot;&gt;&lt;m_ppcolschidx val=&quot;0&quot;/&gt;&lt;m_rgb r=&quot;1f&quot; g=&quot;49&quot; b=&quot;7d&quot;/&gt;&lt;/elem&gt;&lt;/m_vecMRU&gt;&lt;/m_mruColor&gt;&lt;m_mapectfillschemeMRU&gt;&lt;key val=&quot;0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0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JShg3iKkefTWHxf47j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FcGvMMBUqmE_vZC4sD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_Io1n7EiFjla5ZJvj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iRBNt6v0WVK8JIpTeo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wjkQqgUqW44o1O7Jj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e39keS0kCCHd7TXyuG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aNcSltdkitlgistn_k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w_K5F.pEKLh6lpHNcp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_of.ZAeEGmjIIf6RIl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JShg3iKkefTWHxf47j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FcGvMMBUqmE_vZC4sD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_Io1n7EiFjla5ZJvj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iRBNt6v0WVK8JIpTeo6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wjkQqgUqW44o1O7Jj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LirfgvWUaHvTOmNu.l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Pbag3C7kK5p1nddbma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1b_QLo0W019Q6vq47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vHgtoUIEamb94TZMY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n9uCmMR0y7gFuHdnVa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pXtvSWTE6CkrQ7JioP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FdlZnvp0uOKzOTtt8r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sRqID45UO1FH0ATpEz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KW1V1ZJUSuzudjSJ9z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VuE9e6wEOd.YB9IdO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hiG2r5jEG160zGQTWBJ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bB.02Y1060CV_Q82aW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tpZBDTA0ytZ0rbVEAp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5a_sAo9UWAOxEBjduh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yx6I_W06xq6WEENi7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nP.noWHECa_LUBUX7c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k0y2CiNkaUEM4vrHTE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LirfgvWUaHvTOmNu.l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Pbag3C7kK5p1nddbma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1b_QLo0W019Q6vq47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vHgtoUIEamb94TZMYK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pXtvSWTE6CkrQ7JioP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FdlZnvp0uOKzOTtt8r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sRqID45UO1FH0ATpEz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RqDSqmjUiQ87.EAYKy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n9uCmMR0y7gFuHdnVa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36sVDQGUedaEpVYtJq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EICSMdCk238xboXLYO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CwYBG0VUutAVJkDdFm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fsS6QXTEeVK8hTdbZC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_wiWMMd0.8fxd.Ik3E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W_q8arPUi6pV64dJr5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RjXgrNjU2tw3ejh37E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mqUa2Gzkm14dJ.0Y4.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_Z15SpZkG1ednDY9o.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ehY8o3DECDM_c2jN8E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yx6I_W06xq6WEENi7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B1lBz920GjBqEuygga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qWn_NKKU2pM746Ab8H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vvs4B7Ak2iETR1FDJv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LW2G.9ECL_gslD83.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aNcSltdkitlgistn_k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w_K5F.pEKLh6lpHNcp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_of.ZAeEGmjIIf6RIliQ"/>
</p:tagLst>
</file>

<file path=ppt/theme/theme1.xml><?xml version="1.0" encoding="utf-8"?>
<a:theme xmlns:a="http://schemas.openxmlformats.org/drawingml/2006/main" name="20120608_GE Engagement Strategies Final">
  <a:themeElements>
    <a:clrScheme name="CleantechGroup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BACC9"/>
      </a:accent1>
      <a:accent2>
        <a:srgbClr val="DB6D1D"/>
      </a:accent2>
      <a:accent3>
        <a:srgbClr val="B7BE1C"/>
      </a:accent3>
      <a:accent4>
        <a:srgbClr val="595959"/>
      </a:accent4>
      <a:accent5>
        <a:srgbClr val="7F7F7F"/>
      </a:accent5>
      <a:accent6>
        <a:srgbClr val="FE19FF"/>
      </a:accent6>
      <a:hlink>
        <a:srgbClr val="0000FF"/>
      </a:hlink>
      <a:folHlink>
        <a:srgbClr val="800080"/>
      </a:folHlink>
    </a:clrScheme>
    <a:fontScheme name="Custom 2">
      <a:majorFont>
        <a:latin typeface="HelveticaNeueLT Std Med"/>
        <a:ea typeface=""/>
        <a:cs typeface=""/>
      </a:majorFont>
      <a:minorFont>
        <a:latin typeface="HelveticaNeueLT Std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89</TotalTime>
  <Words>44</Words>
  <Application>Microsoft Office PowerPoint</Application>
  <PresentationFormat>On-screen Show (4:3)</PresentationFormat>
  <Paragraphs>37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20120608_GE Engagement Strategies Final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leantech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 showed the most interest in connection with innovators in Canada’s Oil &amp; Gas sector</dc:title>
  <dc:creator>Kerry Cebul</dc:creator>
  <cp:lastModifiedBy>Kevin Reed</cp:lastModifiedBy>
  <cp:revision>442</cp:revision>
  <cp:lastPrinted>2012-06-18T22:58:36Z</cp:lastPrinted>
  <dcterms:created xsi:type="dcterms:W3CDTF">2012-06-11T16:31:18Z</dcterms:created>
  <dcterms:modified xsi:type="dcterms:W3CDTF">2012-11-17T04:17:12Z</dcterms:modified>
</cp:coreProperties>
</file>